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3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58671909130624E-2"/>
          <c:y val="6.4290473017988015E-2"/>
          <c:w val="0.97728265618173871"/>
          <c:h val="0.871419053964023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61D-4169-B495-A7FF29A6AE3B}"/>
                </c:ext>
              </c:extLst>
            </c:dLbl>
            <c:dLbl>
              <c:idx val="1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61D-4169-B495-A7FF29A6AE3B}"/>
                </c:ext>
              </c:extLst>
            </c:dLbl>
            <c:dLbl>
              <c:idx val="2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0</c:v>
                </c:pt>
                <c:pt idx="1">
                  <c:v>15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1D-4169-B495-A7FF29A6AE3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1843599825251202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61D-4169-B495-A7FF29A6AE3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61D-4169-B495-A7FF29A6AE3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40.000000000000007</c:v>
                </c:pt>
                <c:pt idx="1">
                  <c:v>25</c:v>
                </c:pt>
                <c:pt idx="2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1D-4169-B495-A7FF29A6AE3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61D-4169-B495-A7FF29A6AE3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61D-4169-B495-A7FF29A6AE3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61D-4169-B495-A7FF29A6AE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9.999999999999993</c:v>
                </c:pt>
                <c:pt idx="1">
                  <c:v>60</c:v>
                </c:pt>
                <c:pt idx="2">
                  <c:v>30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61D-4169-B495-A7FF29A6AE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320384"/>
        <c:axId val="1"/>
      </c:barChart>
      <c:catAx>
        <c:axId val="3373203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37320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ED753F-FCF4-40A5-9CEA-1E87865DB04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16935B-FE0F-4D12-89ED-AD664FA052F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8860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800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2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0247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48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4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9297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17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512720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21" name="Chart 3">
            <a:extLst>
              <a:ext uri="{FF2B5EF4-FFF2-40B4-BE49-F238E27FC236}">
                <a16:creationId xmlns:a16="http://schemas.microsoft.com/office/drawing/2014/main" id="{A0D635CF-D59F-4E7D-9673-AF30B5F797D2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968375" y="1598613"/>
          <a:ext cx="7267575" cy="476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23862" y="2489200"/>
            <a:ext cx="509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row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9A39328-2A35-5C11-69BE-4B1B19F13D5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34975" y="3873500"/>
            <a:ext cx="498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7AFCAD7D-F4B6-9CD7-B608-65BE121E1B2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42912" y="5257800"/>
            <a:ext cx="490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C0E21FE4-5C0A-9260-3BA1-C22D8791555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307138" y="1855788"/>
            <a:ext cx="852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  <a:sym typeface="+mn-lt"/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EF0B35C7-0191-B7D8-E759-AA38D66739E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470275" y="1855788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  <a:sym typeface="+mn-lt"/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338263" y="1855788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DE4F504-453C-F109-9387-D5B6F030B4B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9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, columns, bars,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9FC5264B-4020-4520-9F68-C99BA4FA4A8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C0FD9A6-8E7A-E813-4366-952A358E1C90}"/>
              </a:ext>
            </a:extLst>
          </p:cNvPr>
          <p:cNvGrpSpPr/>
          <p:nvPr/>
        </p:nvGrpSpPr>
        <p:grpSpPr>
          <a:xfrm>
            <a:off x="442912" y="1526559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FD4CDB6D-374F-7F3D-ACDB-BCCD793070C0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6CE2F5B7-418A-0C6E-DEF1-67B48B1ABD76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tc_columnheader">
            <a:extLst>
              <a:ext uri="{FF2B5EF4-FFF2-40B4-BE49-F238E27FC236}">
                <a16:creationId xmlns:a16="http://schemas.microsoft.com/office/drawing/2014/main" id="{BB104D09-EF66-4F9C-6EF6-179EFF5A25D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2" name="tc_columnhead">
              <a:extLst>
                <a:ext uri="{FF2B5EF4-FFF2-40B4-BE49-F238E27FC236}">
                  <a16:creationId xmlns:a16="http://schemas.microsoft.com/office/drawing/2014/main" id="{CCBF1D76-92C7-E6B8-FE49-4118C402CB8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3" name="tc_columnheadline">
              <a:extLst>
                <a:ext uri="{FF2B5EF4-FFF2-40B4-BE49-F238E27FC236}">
                  <a16:creationId xmlns:a16="http://schemas.microsoft.com/office/drawing/2014/main" id="{C9F13173-1660-0C58-C057-20A879C65E40}"/>
                </a:ext>
              </a:extLst>
            </p:cNvPr>
            <p:cNvCxnSpPr>
              <a:cxnSpLocks/>
              <a:stCxn id="12" idx="4"/>
              <a:endCxn id="12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18">
            <a:extLst>
              <a:ext uri="{FF2B5EF4-FFF2-40B4-BE49-F238E27FC236}">
                <a16:creationId xmlns:a16="http://schemas.microsoft.com/office/drawing/2014/main" id="{36D5F96A-DE07-6F54-FAF3-4413C7A4281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total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BF9706E-5B87-4992-819C-917CF77E56EC}"/>
              </a:ext>
            </a:extLst>
          </p:cNvPr>
          <p:cNvSpPr txBox="1"/>
          <p:nvPr/>
        </p:nvSpPr>
        <p:spPr>
          <a:xfrm>
            <a:off x="4068566" y="1089061"/>
            <a:ext cx="2238572" cy="2539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数据</a:t>
            </a:r>
          </a:p>
        </p:txBody>
      </p:sp>
    </p:spTree>
    <p:extLst>
      <p:ext uri="{BB962C8B-B14F-4D97-AF65-F5344CB8AC3E}">
        <p14:creationId xmlns:p14="http://schemas.microsoft.com/office/powerpoint/2010/main" val="4026008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6c4RTMNCTlK7odq0D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gAOwFxJS7gPnrYlZJp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GXexzeCe.FPbZVOHgn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wSeJXZumtOrPaT8sl7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N.9pZf_QPo.U78_.b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xIawzJumMmB_5me3l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myE_tPck8YazVMbRPAZ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1</Words>
  <Application>Microsoft Office PowerPoint</Application>
  <PresentationFormat>宽屏</PresentationFormat>
  <Paragraphs>2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9:13:32Z</dcterms:created>
  <dcterms:modified xsi:type="dcterms:W3CDTF">2025-09-09T09:14:59Z</dcterms:modified>
</cp:coreProperties>
</file>